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20"/>
  </p:notesMasterIdLst>
  <p:handoutMasterIdLst>
    <p:handoutMasterId r:id="rId21"/>
  </p:handoutMasterIdLst>
  <p:sldIdLst>
    <p:sldId id="2147471623" r:id="rId6"/>
    <p:sldId id="2147471637" r:id="rId7"/>
    <p:sldId id="2147471635" r:id="rId8"/>
    <p:sldId id="2147471639" r:id="rId9"/>
    <p:sldId id="2147471640" r:id="rId10"/>
    <p:sldId id="2147471638" r:id="rId11"/>
    <p:sldId id="2147471629" r:id="rId12"/>
    <p:sldId id="2147471630" r:id="rId13"/>
    <p:sldId id="2147471632" r:id="rId14"/>
    <p:sldId id="2147471627" r:id="rId15"/>
    <p:sldId id="2147471626" r:id="rId16"/>
    <p:sldId id="2147471621" r:id="rId17"/>
    <p:sldId id="2147471620" r:id="rId18"/>
    <p:sldId id="2147471636" r:id="rId19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71637"/>
            <p14:sldId id="2147471635"/>
            <p14:sldId id="2147471639"/>
            <p14:sldId id="2147471640"/>
            <p14:sldId id="2147471638"/>
            <p14:sldId id="2147471629"/>
          </p14:sldIdLst>
        </p14:section>
        <p14:section name="Appendix" id="{975782CB-9832-478C-8AFA-278DDB482AD1}">
          <p14:sldIdLst>
            <p14:sldId id="2147471630"/>
            <p14:sldId id="2147471632"/>
            <p14:sldId id="2147471627"/>
            <p14:sldId id="2147471626"/>
            <p14:sldId id="2147471621"/>
            <p14:sldId id="2147471620"/>
            <p14:sldId id="2147471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4638"/>
  </p:normalViewPr>
  <p:slideViewPr>
    <p:cSldViewPr snapToGrid="0">
      <p:cViewPr>
        <p:scale>
          <a:sx n="60" d="100"/>
          <a:sy n="60" d="100"/>
        </p:scale>
        <p:origin x="868" y="168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0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0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09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571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7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367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tiff"/><Relationship Id="rId5" Type="http://schemas.openxmlformats.org/officeDocument/2006/relationships/image" Target="../media/image8.tiff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/>
              <a:t>CIAM Project Upd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dirty="0"/>
              <a:t>25</a:t>
            </a:r>
            <a:r>
              <a:rPr lang="en-US" baseline="30000" dirty="0"/>
              <a:t>th</a:t>
            </a:r>
            <a:r>
              <a:rPr lang="en-US" dirty="0"/>
              <a:t> October 2024</a:t>
            </a:r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/>
              <a:t>Project Status &amp; Milestones – BI &amp; Reporting Trac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6" name="Table 4">
            <a:extLst>
              <a:ext uri="{FF2B5EF4-FFF2-40B4-BE49-F238E27FC236}">
                <a16:creationId xmlns:a16="http://schemas.microsoft.com/office/drawing/2014/main" id="{53EA420E-C862-42CC-AD0A-0CD5E908B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859622"/>
              </p:ext>
            </p:extLst>
          </p:nvPr>
        </p:nvGraphicFramePr>
        <p:xfrm>
          <a:off x="746988" y="886693"/>
          <a:ext cx="10951236" cy="5250057"/>
        </p:xfrm>
        <a:graphic>
          <a:graphicData uri="http://schemas.openxmlformats.org/drawingml/2006/table">
            <a:tbl>
              <a:tblPr firstRow="1" bandRow="1"/>
              <a:tblGrid>
                <a:gridCol w="330653">
                  <a:extLst>
                    <a:ext uri="{9D8B030D-6E8A-4147-A177-3AD203B41FA5}">
                      <a16:colId xmlns:a16="http://schemas.microsoft.com/office/drawing/2014/main" val="591996495"/>
                    </a:ext>
                  </a:extLst>
                </a:gridCol>
                <a:gridCol w="4353341">
                  <a:extLst>
                    <a:ext uri="{9D8B030D-6E8A-4147-A177-3AD203B41FA5}">
                      <a16:colId xmlns:a16="http://schemas.microsoft.com/office/drawing/2014/main" val="1871347559"/>
                    </a:ext>
                  </a:extLst>
                </a:gridCol>
                <a:gridCol w="1274618">
                  <a:extLst>
                    <a:ext uri="{9D8B030D-6E8A-4147-A177-3AD203B41FA5}">
                      <a16:colId xmlns:a16="http://schemas.microsoft.com/office/drawing/2014/main" val="1440275523"/>
                    </a:ext>
                  </a:extLst>
                </a:gridCol>
                <a:gridCol w="1265382">
                  <a:extLst>
                    <a:ext uri="{9D8B030D-6E8A-4147-A177-3AD203B41FA5}">
                      <a16:colId xmlns:a16="http://schemas.microsoft.com/office/drawing/2014/main" val="643326090"/>
                    </a:ext>
                  </a:extLst>
                </a:gridCol>
                <a:gridCol w="1394691">
                  <a:extLst>
                    <a:ext uri="{9D8B030D-6E8A-4147-A177-3AD203B41FA5}">
                      <a16:colId xmlns:a16="http://schemas.microsoft.com/office/drawing/2014/main" val="927228342"/>
                    </a:ext>
                  </a:extLst>
                </a:gridCol>
                <a:gridCol w="2332551">
                  <a:extLst>
                    <a:ext uri="{9D8B030D-6E8A-4147-A177-3AD203B41FA5}">
                      <a16:colId xmlns:a16="http://schemas.microsoft.com/office/drawing/2014/main" val="4023779838"/>
                    </a:ext>
                  </a:extLst>
                </a:gridCol>
              </a:tblGrid>
              <a:tr h="403124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4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BI &amp; Reporting Track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gres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isk Level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plete Week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ies &amp; Challenge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4875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1 –Wire Frame/Mock up Design for the Problem Statement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noProof="1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2670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Design Mock up Wireframe for Business Agreement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6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Design Validation &amp; Agreement on the Final Wirefr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6401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terative on the Agreed Design and Functionality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23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082998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2 – </a:t>
                      </a: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Map/validate Columns to the Data Model (Fact Tables)</a:t>
                      </a:r>
                      <a:endParaRPr lang="da-DK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48502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Upload Account Fact Table &amp; Profile Fact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8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Octo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Data Mapping/Validation to Design Wireframe &amp; Transformation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Assess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436198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ransaction Fact Octa Table &amp; Transaction Fact Adobe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8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Octo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189" rtl="0" eaLnBrk="1" latinLnBrk="0" hangingPunct="1"/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37463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Demo &amp; Iterate on the Agreed Design with Actual Data on Tableau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03034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ntegrate with Data Ingestion through ETL Pieplin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5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Nov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ableau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ETL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Implementation &amp; Completion by the Data Team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33924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Data Tarnsformation &amp; Design/Report Validation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5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Nov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96125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shboards Development &amp;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Getting Ready for Production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75882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ion of Profile &amp; Activity Dashboards</a:t>
                      </a:r>
                      <a:endParaRPr kumimoji="0" lang="da-DK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29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evious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Tasks and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Validation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&amp; Sign off by the Business Team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52140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esting of the Dashboards by Dev Team &amp; Production SM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29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Novem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9753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shboards 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duction Deployment &amp; Training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6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c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02842"/>
                  </a:ext>
                </a:extLst>
              </a:tr>
            </a:tbl>
          </a:graphicData>
        </a:graphic>
      </p:graphicFrame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171534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2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171534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54" name="Rectangle: Rounded Corners 16">
            <a:extLst>
              <a:ext uri="{FF2B5EF4-FFF2-40B4-BE49-F238E27FC236}">
                <a16:creationId xmlns:a16="http://schemas.microsoft.com/office/drawing/2014/main" id="{12E7BE95-014E-4823-A0B4-D90A77AC48FF}"/>
              </a:ext>
            </a:extLst>
          </p:cNvPr>
          <p:cNvSpPr/>
          <p:nvPr/>
        </p:nvSpPr>
        <p:spPr>
          <a:xfrm>
            <a:off x="5461131" y="20943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5" name="Rectangle: Rounded Corners 17">
            <a:extLst>
              <a:ext uri="{FF2B5EF4-FFF2-40B4-BE49-F238E27FC236}">
                <a16:creationId xmlns:a16="http://schemas.microsoft.com/office/drawing/2014/main" id="{608725C6-779D-4773-9EF4-9F76B0CD497E}"/>
              </a:ext>
            </a:extLst>
          </p:cNvPr>
          <p:cNvSpPr/>
          <p:nvPr/>
        </p:nvSpPr>
        <p:spPr>
          <a:xfrm>
            <a:off x="6729192" y="20943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28339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63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320379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</a:p>
        </p:txBody>
      </p:sp>
      <p:sp>
        <p:nvSpPr>
          <p:cNvPr id="64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320379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75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1744790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2112967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Graphic 5" descr="Checkmark">
            <a:extLst>
              <a:ext uri="{FF2B5EF4-FFF2-40B4-BE49-F238E27FC236}">
                <a16:creationId xmlns:a16="http://schemas.microsoft.com/office/drawing/2014/main" id="{74CEBFA9-E10A-4A01-BC2D-62A7E277129D}"/>
              </a:ext>
            </a:extLst>
          </p:cNvPr>
          <p:cNvSpPr/>
          <p:nvPr/>
        </p:nvSpPr>
        <p:spPr>
          <a:xfrm>
            <a:off x="425583" y="2896776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326495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Rectangle: Rounded Corners 10">
            <a:extLst>
              <a:ext uri="{FF2B5EF4-FFF2-40B4-BE49-F238E27FC236}">
                <a16:creationId xmlns:a16="http://schemas.microsoft.com/office/drawing/2014/main" id="{D764091E-C2D2-468A-A73B-DB60B887EA62}"/>
              </a:ext>
            </a:extLst>
          </p:cNvPr>
          <p:cNvSpPr/>
          <p:nvPr/>
        </p:nvSpPr>
        <p:spPr>
          <a:xfrm>
            <a:off x="5461131" y="394305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6" name="Rectangle: Rounded Corners 11">
            <a:extLst>
              <a:ext uri="{FF2B5EF4-FFF2-40B4-BE49-F238E27FC236}">
                <a16:creationId xmlns:a16="http://schemas.microsoft.com/office/drawing/2014/main" id="{DBDAD6C8-EA4D-41DE-809E-7E5698F64AB8}"/>
              </a:ext>
            </a:extLst>
          </p:cNvPr>
          <p:cNvSpPr/>
          <p:nvPr/>
        </p:nvSpPr>
        <p:spPr>
          <a:xfrm>
            <a:off x="6729192" y="394305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88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4322089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9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4322089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94" name="Rectangle: Rounded Corners 19">
            <a:extLst>
              <a:ext uri="{FF2B5EF4-FFF2-40B4-BE49-F238E27FC236}">
                <a16:creationId xmlns:a16="http://schemas.microsoft.com/office/drawing/2014/main" id="{C2430B2B-A561-4A66-9DAD-308D29EB770F}"/>
              </a:ext>
            </a:extLst>
          </p:cNvPr>
          <p:cNvSpPr/>
          <p:nvPr/>
        </p:nvSpPr>
        <p:spPr>
          <a:xfrm>
            <a:off x="5461131" y="506169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5" name="Rectangle: Rounded Corners 20">
            <a:extLst>
              <a:ext uri="{FF2B5EF4-FFF2-40B4-BE49-F238E27FC236}">
                <a16:creationId xmlns:a16="http://schemas.microsoft.com/office/drawing/2014/main" id="{69B9705E-76FE-48B8-AE75-BC63F5A0D96A}"/>
              </a:ext>
            </a:extLst>
          </p:cNvPr>
          <p:cNvSpPr/>
          <p:nvPr/>
        </p:nvSpPr>
        <p:spPr>
          <a:xfrm>
            <a:off x="6729192" y="506169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97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544073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8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544073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100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5819778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101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5819778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Medium</a:t>
            </a:r>
          </a:p>
        </p:txBody>
      </p:sp>
      <p:sp>
        <p:nvSpPr>
          <p:cNvPr id="102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3949415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4317592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5137071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Graphic 7" descr="Checkmark">
            <a:extLst>
              <a:ext uri="{FF2B5EF4-FFF2-40B4-BE49-F238E27FC236}">
                <a16:creationId xmlns:a16="http://schemas.microsoft.com/office/drawing/2014/main" id="{D0FB9DBC-BC27-4AB4-8F85-F92EF099072D}"/>
              </a:ext>
            </a:extLst>
          </p:cNvPr>
          <p:cNvSpPr/>
          <p:nvPr/>
        </p:nvSpPr>
        <p:spPr>
          <a:xfrm>
            <a:off x="425583" y="5505248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Graphic 8" descr="Checkmark">
            <a:extLst>
              <a:ext uri="{FF2B5EF4-FFF2-40B4-BE49-F238E27FC236}">
                <a16:creationId xmlns:a16="http://schemas.microsoft.com/office/drawing/2014/main" id="{9441916A-F2E6-4E26-9340-83E49F1C76FD}"/>
              </a:ext>
            </a:extLst>
          </p:cNvPr>
          <p:cNvSpPr/>
          <p:nvPr/>
        </p:nvSpPr>
        <p:spPr>
          <a:xfrm>
            <a:off x="425583" y="587342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Rectangle: Rounded Corners 16">
            <a:extLst>
              <a:ext uri="{FF2B5EF4-FFF2-40B4-BE49-F238E27FC236}">
                <a16:creationId xmlns:a16="http://schemas.microsoft.com/office/drawing/2014/main" id="{0B8BB5FC-C808-858B-7D25-9CB77D41EB14}"/>
              </a:ext>
            </a:extLst>
          </p:cNvPr>
          <p:cNvSpPr/>
          <p:nvPr/>
        </p:nvSpPr>
        <p:spPr>
          <a:xfrm>
            <a:off x="5461130" y="282475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</p:spTree>
    <p:extLst>
      <p:ext uri="{BB962C8B-B14F-4D97-AF65-F5344CB8AC3E}">
        <p14:creationId xmlns:p14="http://schemas.microsoft.com/office/powerpoint/2010/main" val="25043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OX - CIAM Data </a:t>
            </a:r>
            <a:r>
              <a:rPr lang="en-US" dirty="0" err="1"/>
              <a:t>Engg</a:t>
            </a:r>
            <a:r>
              <a:rPr lang="en-US" dirty="0"/>
              <a:t> and BI Reporting  - 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2" name="Rectangle 111"/>
          <p:cNvSpPr/>
          <p:nvPr/>
        </p:nvSpPr>
        <p:spPr bwMode="auto">
          <a:xfrm>
            <a:off x="1089515" y="2939600"/>
            <a:ext cx="5447899" cy="2919609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txBody>
          <a:bodyPr vert="horz" wrap="square" lIns="42863" tIns="21431" rIns="42863" bIns="21431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600"/>
          </a:p>
        </p:txBody>
      </p:sp>
      <p:sp>
        <p:nvSpPr>
          <p:cNvPr id="113" name="Rectangle 112"/>
          <p:cNvSpPr/>
          <p:nvPr/>
        </p:nvSpPr>
        <p:spPr bwMode="auto">
          <a:xfrm>
            <a:off x="0" y="1100860"/>
            <a:ext cx="3769078" cy="352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Project Vi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Enable</a:t>
            </a:r>
            <a:r>
              <a:rPr kumimoji="0" lang="en-US" sz="11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 Customer Authentication &amp; Track  Activity 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884024" y="1100860"/>
            <a:ext cx="3944982" cy="352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ata Integration &amp; Trans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Data Staging</a:t>
            </a:r>
            <a:r>
              <a:rPr kumimoji="0" lang="en-US" sz="1100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yer From Multiple Data Source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0" y="826958"/>
            <a:ext cx="12192001" cy="20880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/>
              </a:rPr>
              <a:t>ENGAGEMENT OVERVIEW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374470" y="1473898"/>
            <a:ext cx="3241490" cy="11053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</a:rPr>
              <a:t>Every customer is enabled to authentic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</a:rPr>
              <a:t>Every customer is able to authenticate</a:t>
            </a:r>
            <a:endParaRPr lang="en-US" sz="900" dirty="0">
              <a:solidFill>
                <a:prstClr val="black"/>
              </a:solidFill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Enable View into customer activity &amp; transactions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4058194" y="1473898"/>
            <a:ext cx="3628863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Access enabled for the AWS DB/Athena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&amp; Align on the Data Framework and Models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Integrate Data Queries from Multiple Data Tales 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ata and business logic validation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ETL Process for the staging layer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8310504" y="1473898"/>
            <a:ext cx="3578430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Access enabled for the AWS DB/Athena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&amp; Align on the BI Framework and Wireframes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Integrate BI with the Data Staging Layer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Validate Data Transformation based on Business Logic 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Tableau based Dashboards for Business </a:t>
            </a:r>
          </a:p>
        </p:txBody>
      </p:sp>
      <p:sp>
        <p:nvSpPr>
          <p:cNvPr id="121" name="Rectangle 120"/>
          <p:cNvSpPr/>
          <p:nvPr/>
        </p:nvSpPr>
        <p:spPr bwMode="auto">
          <a:xfrm>
            <a:off x="1215957" y="3050012"/>
            <a:ext cx="2507484" cy="396000"/>
          </a:xfrm>
          <a:prstGeom prst="rect">
            <a:avLst/>
          </a:prstGeom>
          <a:gradFill flip="none" rotWithShape="1">
            <a:gsLst>
              <a:gs pos="0">
                <a:srgbClr val="00B050"/>
              </a:gs>
              <a:gs pos="99000">
                <a:srgbClr val="FC931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ODELS/FRAMEWORK</a:t>
            </a:r>
          </a:p>
        </p:txBody>
      </p:sp>
      <p:sp>
        <p:nvSpPr>
          <p:cNvPr id="122" name="Rectangle 121"/>
          <p:cNvSpPr/>
          <p:nvPr/>
        </p:nvSpPr>
        <p:spPr bwMode="auto">
          <a:xfrm>
            <a:off x="3910570" y="3044366"/>
            <a:ext cx="2468399" cy="396000"/>
          </a:xfrm>
          <a:prstGeom prst="rect">
            <a:avLst/>
          </a:prstGeom>
          <a:gradFill flip="none" rotWithShape="1">
            <a:gsLst>
              <a:gs pos="0">
                <a:srgbClr val="00B050"/>
              </a:gs>
              <a:gs pos="99000">
                <a:srgbClr val="FC931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IN" sz="900" b="1">
                <a:solidFill>
                  <a:prstClr val="white"/>
                </a:solidFill>
                <a:latin typeface="Arial"/>
              </a:rPr>
              <a:t>BI DASHBOARDS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1215957" y="3560307"/>
            <a:ext cx="2507484" cy="1274033"/>
          </a:xfrm>
          <a:prstGeom prst="rect">
            <a:avLst/>
          </a:prstGeom>
          <a:solidFill>
            <a:schemeClr val="bg1"/>
          </a:solidFill>
          <a:ln>
            <a:solidFill>
              <a:srgbClr val="949494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ccount &amp; </a:t>
            </a:r>
            <a:r>
              <a:rPr lang="en-US" sz="1050" b="1" noProof="0" dirty="0">
                <a:solidFill>
                  <a:prstClr val="black"/>
                </a:solidFill>
              </a:rPr>
              <a:t>P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ofile –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b="1" dirty="0">
                <a:solidFill>
                  <a:srgbClr val="00B050"/>
                </a:solidFill>
              </a:rPr>
              <a:t>Extraction of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Fact</a:t>
            </a:r>
            <a:r>
              <a:rPr kumimoji="0" lang="en-US" sz="105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 Tables – Completed </a:t>
            </a:r>
          </a:p>
          <a:p>
            <a:pPr marL="171450" lvl="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Athena query preparation for Metrics  - WIP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C9318"/>
              </a:solidFill>
              <a:effectLst/>
              <a:uLnTx/>
              <a:uFillTx/>
            </a:endParaRPr>
          </a:p>
          <a:p>
            <a:pPr defTabSz="914400">
              <a:defRPr/>
            </a:pPr>
            <a:r>
              <a:rPr lang="en-US" sz="1050" b="1" dirty="0" err="1">
                <a:solidFill>
                  <a:prstClr val="black"/>
                </a:solidFill>
              </a:rPr>
              <a:t>Octa</a:t>
            </a:r>
            <a:r>
              <a:rPr lang="en-US" sz="1050" b="1" dirty="0">
                <a:solidFill>
                  <a:prstClr val="black"/>
                </a:solidFill>
              </a:rPr>
              <a:t>/Adobe Activity Fact Tables –</a:t>
            </a:r>
          </a:p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00B050"/>
                </a:solidFill>
              </a:rPr>
              <a:t>Extraction of Fact Tables – Completed </a:t>
            </a:r>
          </a:p>
          <a:p>
            <a:pPr marL="171450" lvl="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Cox Validation of Fact Tables – Ongoing </a:t>
            </a:r>
          </a:p>
        </p:txBody>
      </p:sp>
      <p:sp>
        <p:nvSpPr>
          <p:cNvPr id="124" name="Rectangle 123"/>
          <p:cNvSpPr/>
          <p:nvPr/>
        </p:nvSpPr>
        <p:spPr bwMode="auto">
          <a:xfrm>
            <a:off x="3910569" y="3560308"/>
            <a:ext cx="2468400" cy="1274032"/>
          </a:xfrm>
          <a:prstGeom prst="rect">
            <a:avLst/>
          </a:prstGeom>
          <a:solidFill>
            <a:schemeClr val="bg1"/>
          </a:solidFill>
          <a:ln>
            <a:solidFill>
              <a:srgbClr val="0D4368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00B050"/>
                </a:solidFill>
              </a:rPr>
              <a:t>Account &amp; Profile Fact Tables Wireframe – Complete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Account &amp; Profile Fact Tables Dashboard – WIP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Octa/Adobe Activity Fact Tables Dashboards – WIP</a:t>
            </a:r>
          </a:p>
        </p:txBody>
      </p:sp>
      <p:sp>
        <p:nvSpPr>
          <p:cNvPr id="125" name="Rectangle 124"/>
          <p:cNvSpPr/>
          <p:nvPr/>
        </p:nvSpPr>
        <p:spPr bwMode="auto">
          <a:xfrm>
            <a:off x="-2230" y="2687645"/>
            <a:ext cx="12194230" cy="20771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sz="10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URRENT </a:t>
            </a:r>
            <a:r>
              <a:rPr lang="en-US" sz="1000" b="1" kern="0">
                <a:solidFill>
                  <a:srgbClr val="FFFFFF"/>
                </a:solidFill>
                <a:latin typeface="Arial"/>
                <a:cs typeface="Arial" pitchFamily="34" charset="0"/>
              </a:rPr>
              <a:t>PROGRESS (As </a:t>
            </a:r>
            <a:r>
              <a:rPr lang="en-US" sz="10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Per Original </a:t>
            </a:r>
            <a:r>
              <a:rPr lang="en-US" sz="1000" b="1" kern="0">
                <a:solidFill>
                  <a:srgbClr val="FFFFFF"/>
                </a:solidFill>
                <a:latin typeface="Arial"/>
                <a:cs typeface="Arial" pitchFamily="34" charset="0"/>
              </a:rPr>
              <a:t>Planned Timeline)</a:t>
            </a:r>
            <a:endParaRPr lang="en-US" sz="1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6" name="Straight Arrow Connector 125"/>
          <p:cNvCxnSpPr/>
          <p:nvPr/>
        </p:nvCxnSpPr>
        <p:spPr>
          <a:xfrm flipV="1">
            <a:off x="1084528" y="6168176"/>
            <a:ext cx="10804406" cy="23618"/>
          </a:xfrm>
          <a:prstGeom prst="straightConnector1">
            <a:avLst/>
          </a:prstGeom>
          <a:ln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/>
          <p:cNvSpPr/>
          <p:nvPr/>
        </p:nvSpPr>
        <p:spPr>
          <a:xfrm>
            <a:off x="4572106" y="6060501"/>
            <a:ext cx="3225562" cy="253916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050" b="1">
                <a:solidFill>
                  <a:schemeClr val="bg1"/>
                </a:solidFill>
              </a:rPr>
              <a:t>Ongoing Data &amp; Business Logic Enhancements</a:t>
            </a:r>
          </a:p>
        </p:txBody>
      </p:sp>
      <p:sp>
        <p:nvSpPr>
          <p:cNvPr id="128" name="Rectangle 127"/>
          <p:cNvSpPr/>
          <p:nvPr/>
        </p:nvSpPr>
        <p:spPr bwMode="auto">
          <a:xfrm>
            <a:off x="7943952" y="1100860"/>
            <a:ext cx="3944982" cy="352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Tableau Based BI Dashboar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Create BI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Dashboards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1215957" y="4933827"/>
            <a:ext cx="2507484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b="1" dirty="0"/>
              <a:t>Limited access to Cox S3 data tables </a:t>
            </a:r>
            <a:r>
              <a:rPr lang="en-US" sz="1050" dirty="0"/>
              <a:t>making data validation a longer proces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b="1" dirty="0"/>
              <a:t>Changes to the Lookup Rules post validation </a:t>
            </a:r>
            <a:r>
              <a:rPr lang="en-US" sz="1050" dirty="0"/>
              <a:t>leads to iterations on fact tables increasing the timelines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037408" y="3611605"/>
            <a:ext cx="42850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Tableau Access &amp; S3 connectivity – WIP ( Manual approach to connect S3 but session disconnect in 8 Hrs.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AWS complete data set access for </a:t>
            </a:r>
            <a:r>
              <a:rPr lang="en-US" sz="1050" dirty="0" err="1"/>
              <a:t>eClerx</a:t>
            </a:r>
            <a:r>
              <a:rPr lang="en-US" sz="1050" dirty="0"/>
              <a:t> Team – Pending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Excel operation limitation in Cox environment – Delay in data validation</a:t>
            </a:r>
          </a:p>
        </p:txBody>
      </p:sp>
      <p:sp>
        <p:nvSpPr>
          <p:cNvPr id="135" name="Rectangle 134"/>
          <p:cNvSpPr/>
          <p:nvPr/>
        </p:nvSpPr>
        <p:spPr>
          <a:xfrm>
            <a:off x="0" y="5203486"/>
            <a:ext cx="1091745" cy="46166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Project Risk </a:t>
            </a:r>
          </a:p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&amp; Challenges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E98878-807B-3BB4-B908-3BB6844C68C9}"/>
              </a:ext>
            </a:extLst>
          </p:cNvPr>
          <p:cNvSpPr/>
          <p:nvPr/>
        </p:nvSpPr>
        <p:spPr bwMode="auto">
          <a:xfrm>
            <a:off x="8494119" y="3343315"/>
            <a:ext cx="1281722" cy="201168"/>
          </a:xfrm>
          <a:prstGeom prst="rect">
            <a:avLst/>
          </a:prstGeom>
          <a:solidFill>
            <a:srgbClr val="FFC000"/>
          </a:solidFill>
          <a:ln>
            <a:solidFill>
              <a:srgbClr val="0D4368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050" b="1" dirty="0">
              <a:solidFill>
                <a:srgbClr val="00B050"/>
              </a:solidFill>
              <a:highlight>
                <a:srgbClr val="FFE181"/>
              </a:highligh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C8C53C-351A-8846-BEE1-50736BD3C06B}"/>
              </a:ext>
            </a:extLst>
          </p:cNvPr>
          <p:cNvSpPr txBox="1"/>
          <p:nvPr/>
        </p:nvSpPr>
        <p:spPr>
          <a:xfrm>
            <a:off x="6910242" y="3305400"/>
            <a:ext cx="1583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verall Project Stat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3663FB-53EA-9158-DFD0-827763CBFFF7}"/>
              </a:ext>
            </a:extLst>
          </p:cNvPr>
          <p:cNvSpPr txBox="1"/>
          <p:nvPr/>
        </p:nvSpPr>
        <p:spPr>
          <a:xfrm>
            <a:off x="3912980" y="4944015"/>
            <a:ext cx="246598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Tableau Access &amp; S3 connectivity -  Manual approach to connect S3 but session disconnect in 8 Hr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Dependency on the fact tables  validation &amp; complet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2AACF5-1CDA-8281-A209-98294E8636C4}"/>
              </a:ext>
            </a:extLst>
          </p:cNvPr>
          <p:cNvSpPr/>
          <p:nvPr/>
        </p:nvSpPr>
        <p:spPr>
          <a:xfrm>
            <a:off x="6944475" y="3207509"/>
            <a:ext cx="4377943" cy="137777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4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F8418-FC00-588A-B8ED-32E40361E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iginal Project Pl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0984D-D3AA-13FD-FC57-19FF607410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80433-0019-7C2D-7F84-C5C9D3674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298889"/>
              </p:ext>
            </p:extLst>
          </p:nvPr>
        </p:nvGraphicFramePr>
        <p:xfrm>
          <a:off x="493716" y="1197361"/>
          <a:ext cx="11204502" cy="4593838"/>
        </p:xfrm>
        <a:graphic>
          <a:graphicData uri="http://schemas.openxmlformats.org/drawingml/2006/table">
            <a:tbl>
              <a:tblPr/>
              <a:tblGrid>
                <a:gridCol w="481251">
                  <a:extLst>
                    <a:ext uri="{9D8B030D-6E8A-4147-A177-3AD203B41FA5}">
                      <a16:colId xmlns:a16="http://schemas.microsoft.com/office/drawing/2014/main" val="4108293276"/>
                    </a:ext>
                  </a:extLst>
                </a:gridCol>
                <a:gridCol w="2221160">
                  <a:extLst>
                    <a:ext uri="{9D8B030D-6E8A-4147-A177-3AD203B41FA5}">
                      <a16:colId xmlns:a16="http://schemas.microsoft.com/office/drawing/2014/main" val="4176684213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1033185134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913583138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006227253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4025531580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1058536724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563137189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68144077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768447915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573427869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78155856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424115310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2248260595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645137517"/>
                    </a:ext>
                  </a:extLst>
                </a:gridCol>
              </a:tblGrid>
              <a:tr h="2564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Activities</a:t>
                      </a:r>
                    </a:p>
                  </a:txBody>
                  <a:tcPr marL="7054" marR="7054" marT="705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2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9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6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9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6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3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30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7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4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1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8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4-Nov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153568"/>
                  </a:ext>
                </a:extLst>
              </a:tr>
              <a:tr h="501755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Engineering</a:t>
                      </a:r>
                    </a:p>
                  </a:txBody>
                  <a:tcPr marL="7054" marR="7054" marT="705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Individual Accesses &amp; Azure AVD set u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0822895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iscovery &amp; Requirement Gatherin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5603590"/>
                  </a:ext>
                </a:extLst>
              </a:tr>
              <a:tr h="5017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Accesses and Environment Setup (AWS)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7450501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Build Data Framework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20801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ta Validation 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348124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ta Transformation Flow (ETL)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134915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cheduling and Automation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05602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Monitorin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237700"/>
                  </a:ext>
                </a:extLst>
              </a:tr>
              <a:tr h="256452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isualization</a:t>
                      </a:r>
                    </a:p>
                  </a:txBody>
                  <a:tcPr marL="7054" marR="7054" marT="705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Business Goals &amp; Data Sample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668559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sign Templates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923450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takeholder Review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802459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velopmen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754438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alidation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537192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takeholder Review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034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ployment &amp; Suppor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539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5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D20BF-6937-C158-87D5-D8164B05D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043" y="226849"/>
            <a:ext cx="11204448" cy="533240"/>
          </a:xfrm>
        </p:spPr>
        <p:txBody>
          <a:bodyPr/>
          <a:lstStyle/>
          <a:p>
            <a:r>
              <a:rPr lang="en-US"/>
              <a:t>CIAM - Functions, Initiatives and Metrics Mapping (Original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14C498-091A-4E65-B4EA-2097B0A0A2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7ECDD9-19E3-3387-942B-D6B5A0ABCE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34ABF21-CF21-7747-FE27-5A295126B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939" y="928810"/>
            <a:ext cx="10022389" cy="507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9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 dirty="0"/>
              <a:t>Summary of the CIAM BI Reporting  Metr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C3AF2B-E45E-EB74-8DD1-507590A72316}"/>
              </a:ext>
            </a:extLst>
          </p:cNvPr>
          <p:cNvSpPr/>
          <p:nvPr/>
        </p:nvSpPr>
        <p:spPr>
          <a:xfrm>
            <a:off x="2604303" y="1215342"/>
            <a:ext cx="5474825" cy="6366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tal Metrics on Dashboard – </a:t>
            </a:r>
            <a:r>
              <a:rPr lang="en-US" sz="2000" b="1" dirty="0"/>
              <a:t>67 </a:t>
            </a:r>
          </a:p>
          <a:p>
            <a:pPr algn="ctr"/>
            <a:r>
              <a:rPr lang="en-US" dirty="0"/>
              <a:t>(14 Metrics WIP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CC46B1-710A-21A8-CB29-FACF59A1AC52}"/>
              </a:ext>
            </a:extLst>
          </p:cNvPr>
          <p:cNvSpPr/>
          <p:nvPr/>
        </p:nvSpPr>
        <p:spPr>
          <a:xfrm>
            <a:off x="2604303" y="2048719"/>
            <a:ext cx="2002421" cy="63660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file Tab  </a:t>
            </a:r>
          </a:p>
          <a:p>
            <a:pPr algn="ctr"/>
            <a:r>
              <a:rPr lang="en-US" dirty="0"/>
              <a:t>Total Metris - </a:t>
            </a:r>
            <a:r>
              <a:rPr lang="en-US" sz="2000" b="1" dirty="0"/>
              <a:t>48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44A52A-52FC-2520-0106-9FC697CF3E58}"/>
              </a:ext>
            </a:extLst>
          </p:cNvPr>
          <p:cNvSpPr/>
          <p:nvPr/>
        </p:nvSpPr>
        <p:spPr>
          <a:xfrm>
            <a:off x="5851161" y="2048718"/>
            <a:ext cx="2227967" cy="63660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ctivity Tab</a:t>
            </a:r>
          </a:p>
          <a:p>
            <a:pPr algn="ctr"/>
            <a:r>
              <a:rPr lang="en-US" dirty="0"/>
              <a:t>Total Metrics - </a:t>
            </a:r>
            <a:r>
              <a:rPr lang="en-US" sz="2000" b="1" dirty="0"/>
              <a:t>19</a:t>
            </a:r>
            <a:endParaRPr lang="en-US" b="1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5F23BF1-D533-125C-FA23-5B50E35AF197}"/>
              </a:ext>
            </a:extLst>
          </p:cNvPr>
          <p:cNvCxnSpPr>
            <a:cxnSpLocks/>
          </p:cNvCxnSpPr>
          <p:nvPr/>
        </p:nvCxnSpPr>
        <p:spPr>
          <a:xfrm>
            <a:off x="3518704" y="2766349"/>
            <a:ext cx="0" cy="37039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85458B2-D7B2-7253-6D5F-7B254E45D9FA}"/>
              </a:ext>
            </a:extLst>
          </p:cNvPr>
          <p:cNvGrpSpPr/>
          <p:nvPr/>
        </p:nvGrpSpPr>
        <p:grpSpPr>
          <a:xfrm>
            <a:off x="1225304" y="3217761"/>
            <a:ext cx="4417939" cy="1562582"/>
            <a:chOff x="489727" y="3194613"/>
            <a:chExt cx="4417939" cy="156258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6FB1BBF-FADA-7B34-C305-5B3E5E80FF7A}"/>
                </a:ext>
              </a:extLst>
            </p:cNvPr>
            <p:cNvSpPr/>
            <p:nvPr/>
          </p:nvSpPr>
          <p:spPr>
            <a:xfrm>
              <a:off x="700268" y="3414543"/>
              <a:ext cx="1915613" cy="37490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ustomer - </a:t>
              </a:r>
              <a:r>
                <a:rPr lang="en-US" sz="2000" b="1" dirty="0"/>
                <a:t>17</a:t>
              </a:r>
              <a:endParaRPr lang="en-US" b="1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ED99887-D4A5-6A44-B0ED-4A70A7251F30}"/>
                </a:ext>
              </a:extLst>
            </p:cNvPr>
            <p:cNvSpPr/>
            <p:nvPr/>
          </p:nvSpPr>
          <p:spPr>
            <a:xfrm>
              <a:off x="700268" y="3977859"/>
              <a:ext cx="1915613" cy="37039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rofile -</a:t>
              </a:r>
              <a:r>
                <a:rPr lang="en-US" sz="2000" b="1" dirty="0"/>
                <a:t>11</a:t>
              </a:r>
              <a:endParaRPr lang="en-US" b="1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071CF98-909B-75A0-A951-E8656E672823}"/>
                </a:ext>
              </a:extLst>
            </p:cNvPr>
            <p:cNvSpPr/>
            <p:nvPr/>
          </p:nvSpPr>
          <p:spPr>
            <a:xfrm>
              <a:off x="2748986" y="3391385"/>
              <a:ext cx="1915613" cy="37039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act - </a:t>
              </a:r>
              <a:r>
                <a:rPr lang="en-US" sz="2000" b="1" dirty="0"/>
                <a:t>6</a:t>
              </a:r>
              <a:endParaRPr lang="en-US" b="1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DF0A220-8516-2F83-596A-7C021C113854}"/>
                </a:ext>
              </a:extLst>
            </p:cNvPr>
            <p:cNvSpPr/>
            <p:nvPr/>
          </p:nvSpPr>
          <p:spPr>
            <a:xfrm>
              <a:off x="489727" y="3194613"/>
              <a:ext cx="4417939" cy="1562582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7734EEE-5B31-7848-E1A4-73C699E84989}"/>
                </a:ext>
              </a:extLst>
            </p:cNvPr>
            <p:cNvSpPr/>
            <p:nvPr/>
          </p:nvSpPr>
          <p:spPr>
            <a:xfrm>
              <a:off x="2748986" y="4022214"/>
              <a:ext cx="1915613" cy="37039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ctivity - </a:t>
              </a:r>
              <a:r>
                <a:rPr lang="en-US" sz="2000" b="1" dirty="0"/>
                <a:t>14</a:t>
              </a:r>
              <a:endParaRPr lang="en-US" b="1" dirty="0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AC9F4C13-DABB-3D9D-92EE-2D8EF664AD28}"/>
              </a:ext>
            </a:extLst>
          </p:cNvPr>
          <p:cNvSpPr txBox="1"/>
          <p:nvPr/>
        </p:nvSpPr>
        <p:spPr>
          <a:xfrm>
            <a:off x="1106955" y="2882096"/>
            <a:ext cx="17078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j-lt"/>
              </a:rPr>
              <a:t>Sections</a:t>
            </a:r>
          </a:p>
        </p:txBody>
      </p:sp>
    </p:spTree>
    <p:extLst>
      <p:ext uri="{BB962C8B-B14F-4D97-AF65-F5344CB8AC3E}">
        <p14:creationId xmlns:p14="http://schemas.microsoft.com/office/powerpoint/2010/main" val="164240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CIAM PROJECT STATU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E OCTOBER 25</a:t>
            </a:r>
            <a:r>
              <a:rPr lang="en-US" sz="28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,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1048625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15340" y="2814043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6242" y="4384742"/>
            <a:ext cx="12161520" cy="24188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014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494123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536633"/>
              </p:ext>
            </p:extLst>
          </p:nvPr>
        </p:nvGraphicFramePr>
        <p:xfrm>
          <a:off x="5015340" y="3101998"/>
          <a:ext cx="7121236" cy="1198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5164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477818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459345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25080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425757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Value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51349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ion of existing Metric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ues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the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 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t been made available now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0" y="1394688"/>
            <a:ext cx="77701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Successfully completed the review with the Matt Earnest &amp; Elliot Schwartz (23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Oct 2024)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Team had presented the in-progress dashboard and was well received by Matt &amp; Tea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ta Team now have access to the complete data set made available &amp; is working on validating the access and data  (Target 30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October 2024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have started with the Tableau dashboards a actual data tables and will be refining iteratively basis the business feedback and data availability (Target 08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November 2024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Ongoing data validation with the Praveen for all the identified metrics and additional KPIs to be included as part of the model (Ongoing)</a:t>
            </a:r>
          </a:p>
        </p:txBody>
      </p:sp>
      <p:sp>
        <p:nvSpPr>
          <p:cNvPr id="61" name="Flowchart: Connector 60"/>
          <p:cNvSpPr/>
          <p:nvPr/>
        </p:nvSpPr>
        <p:spPr>
          <a:xfrm>
            <a:off x="8763002" y="3504274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lowchart: Connector 64"/>
          <p:cNvSpPr/>
          <p:nvPr/>
        </p:nvSpPr>
        <p:spPr>
          <a:xfrm>
            <a:off x="8763002" y="4049018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394053"/>
              </p:ext>
            </p:extLst>
          </p:nvPr>
        </p:nvGraphicFramePr>
        <p:xfrm>
          <a:off x="8062271" y="1265707"/>
          <a:ext cx="4119418" cy="14964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7899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7431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support on building an integrated data staging layer &amp; Tableau dashboards with integration to AWS S3 with Snowflake &amp; Adobe as the source of the data to drive and integrated data layer for better BI &amp; Insights, Auto 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procedures to create Customer and Customer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tivity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 views in Tableau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7223674"/>
              </p:ext>
            </p:extLst>
          </p:nvPr>
        </p:nvGraphicFramePr>
        <p:xfrm>
          <a:off x="13853" y="4682250"/>
          <a:ext cx="12163910" cy="155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7565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431637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036290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330037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4308381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to the ETL Testing &amp; Deployment environment for enabling the continuous data ingestion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testing out the AWS glue crawlers and job scheduling basis the current access to identify/mitigate any challenges early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lity and validation of the complete data set, any data issues may delay the timelines as the access has been granted recentl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iteratively validating the new data and data refresh to ensure the data integrity and values are in line with business understanding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going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validation and alignment to the business logic/metrics leading to iterative development/changes of the BI dashboard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07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ng with Praveen/Cox Teams to get the busines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puts and vision for continuous improvement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428420"/>
                  </a:ext>
                </a:extLst>
              </a:tr>
            </a:tbl>
          </a:graphicData>
        </a:graphic>
      </p:graphicFrame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618224" y="5198391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611135" y="5637874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7621763" y="5988747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OX - CIAM Project Statu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5" name="Rectangle 114"/>
          <p:cNvSpPr/>
          <p:nvPr/>
        </p:nvSpPr>
        <p:spPr bwMode="auto">
          <a:xfrm>
            <a:off x="-2230" y="826958"/>
            <a:ext cx="12192001" cy="319004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/>
              </a:rPr>
              <a:t>ENGAGEMENT STATUS OVERVIEW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8A20834-F799-4E11-B6F2-BFF177DAD956}"/>
              </a:ext>
            </a:extLst>
          </p:cNvPr>
          <p:cNvSpPr/>
          <p:nvPr/>
        </p:nvSpPr>
        <p:spPr bwMode="auto">
          <a:xfrm>
            <a:off x="920298" y="1425614"/>
            <a:ext cx="2011680" cy="708878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BCF2997-AAAE-48A4-BBA0-330FB9FE241E}"/>
              </a:ext>
            </a:extLst>
          </p:cNvPr>
          <p:cNvSpPr txBox="1"/>
          <p:nvPr/>
        </p:nvSpPr>
        <p:spPr>
          <a:xfrm>
            <a:off x="1102396" y="1567687"/>
            <a:ext cx="164748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lvl="1" algn="ctr" defTabSz="755650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a Engineering Milestones Status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57EF51B-49CD-4558-B35F-067ADB2F6F28}"/>
              </a:ext>
            </a:extLst>
          </p:cNvPr>
          <p:cNvSpPr/>
          <p:nvPr/>
        </p:nvSpPr>
        <p:spPr bwMode="auto">
          <a:xfrm>
            <a:off x="1511886" y="2680172"/>
            <a:ext cx="828504" cy="816608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5400" dist="889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68CAF48-FD3B-4533-8A79-940B17A7CE76}"/>
              </a:ext>
            </a:extLst>
          </p:cNvPr>
          <p:cNvSpPr/>
          <p:nvPr/>
        </p:nvSpPr>
        <p:spPr bwMode="auto">
          <a:xfrm>
            <a:off x="9682595" y="3691716"/>
            <a:ext cx="1781536" cy="761905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5DB5669-E066-40F8-A103-FBF186AFACDC}"/>
              </a:ext>
            </a:extLst>
          </p:cNvPr>
          <p:cNvSpPr/>
          <p:nvPr/>
        </p:nvSpPr>
        <p:spPr bwMode="auto">
          <a:xfrm>
            <a:off x="10436239" y="3536469"/>
            <a:ext cx="274249" cy="274249"/>
          </a:xfrm>
          <a:prstGeom prst="ellipse">
            <a:avLst/>
          </a:prstGeom>
          <a:gradFill>
            <a:gsLst>
              <a:gs pos="27000">
                <a:srgbClr val="FC9926"/>
              </a:gs>
              <a:gs pos="99000">
                <a:srgbClr val="FCCE2E"/>
              </a:gs>
            </a:gsLst>
            <a:lin ang="16200000" scaled="0"/>
          </a:gradFill>
          <a:ln>
            <a:noFill/>
          </a:ln>
          <a:effectLst>
            <a:outerShdw blurRad="25400" dist="635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 pitchFamily="34" charset="0"/>
              </a:rPr>
              <a:t>3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63CAF9-C3CE-4292-9DAC-01FFFB0CF180}"/>
              </a:ext>
            </a:extLst>
          </p:cNvPr>
          <p:cNvSpPr txBox="1"/>
          <p:nvPr/>
        </p:nvSpPr>
        <p:spPr>
          <a:xfrm>
            <a:off x="9682595" y="3945120"/>
            <a:ext cx="2015629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lution Testing &amp;   Production Go Live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207D89E-7EF0-4573-8E8A-25CDBF971F24}"/>
              </a:ext>
            </a:extLst>
          </p:cNvPr>
          <p:cNvSpPr/>
          <p:nvPr/>
        </p:nvSpPr>
        <p:spPr bwMode="auto">
          <a:xfrm>
            <a:off x="7702422" y="2680172"/>
            <a:ext cx="828504" cy="816608"/>
          </a:xfrm>
          <a:prstGeom prst="ellipse">
            <a:avLst/>
          </a:prstGeom>
          <a:gradFill>
            <a:gsLst>
              <a:gs pos="27000">
                <a:srgbClr val="FC9926"/>
              </a:gs>
              <a:gs pos="99000">
                <a:srgbClr val="FCCE2E"/>
              </a:gs>
            </a:gsLst>
            <a:lin ang="16200000" scaled="0"/>
          </a:gradFill>
          <a:ln>
            <a:noFill/>
          </a:ln>
          <a:effectLst>
            <a:outerShdw blurRad="25400" dist="889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53DBADE3-E65D-42DD-873B-A9F30A16B0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5134" y="2827472"/>
            <a:ext cx="522008" cy="52200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20EF7F7-089C-486F-898E-45CC6AEF77D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8274" y="2832961"/>
            <a:ext cx="509025" cy="490927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DD5ADBD3-2FDF-4075-9E3B-38EB7A3F5CE4}"/>
              </a:ext>
            </a:extLst>
          </p:cNvPr>
          <p:cNvSpPr/>
          <p:nvPr/>
        </p:nvSpPr>
        <p:spPr bwMode="auto">
          <a:xfrm>
            <a:off x="920298" y="2222900"/>
            <a:ext cx="2011680" cy="383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STAGING LAYER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39A5F5F-5D64-4ED1-98B0-42D9C9EB9E4B}"/>
              </a:ext>
            </a:extLst>
          </p:cNvPr>
          <p:cNvSpPr/>
          <p:nvPr/>
        </p:nvSpPr>
        <p:spPr bwMode="auto">
          <a:xfrm>
            <a:off x="828858" y="3724065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ata Staging Goals &amp; Discover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A43CF98-3B7B-4ACB-A109-0164B45F3BAF}"/>
              </a:ext>
            </a:extLst>
          </p:cNvPr>
          <p:cNvSpPr/>
          <p:nvPr/>
        </p:nvSpPr>
        <p:spPr bwMode="auto">
          <a:xfrm>
            <a:off x="3914220" y="4089958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esigning Wireframes/Mockup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3914220" y="4818094"/>
            <a:ext cx="219456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esign basis the Fact Tables Data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3F35F14-8770-42DB-BFDF-061CC7B32C2C}"/>
              </a:ext>
            </a:extLst>
          </p:cNvPr>
          <p:cNvSpPr/>
          <p:nvPr/>
        </p:nvSpPr>
        <p:spPr bwMode="auto">
          <a:xfrm>
            <a:off x="3914220" y="4454026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Stakeholder Validation &amp; Review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CBA1D39-8422-4A7A-93A8-91726B3E3023}"/>
              </a:ext>
            </a:extLst>
          </p:cNvPr>
          <p:cNvSpPr/>
          <p:nvPr/>
        </p:nvSpPr>
        <p:spPr bwMode="auto">
          <a:xfrm>
            <a:off x="826631" y="4088474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Create Profile/Account Fact Tabl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47A01EE-AFC1-4106-9D03-33BC8513FE22}"/>
              </a:ext>
            </a:extLst>
          </p:cNvPr>
          <p:cNvSpPr/>
          <p:nvPr/>
        </p:nvSpPr>
        <p:spPr bwMode="auto">
          <a:xfrm>
            <a:off x="826631" y="4817292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Uploading Fact Tables to Sand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3E0EB47-BB35-45C5-A463-25258F905CF0}"/>
              </a:ext>
            </a:extLst>
          </p:cNvPr>
          <p:cNvSpPr/>
          <p:nvPr/>
        </p:nvSpPr>
        <p:spPr bwMode="auto">
          <a:xfrm>
            <a:off x="826631" y="4452883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Create Transaction Fact Tabl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C95E6FF-53FF-4B16-BDF7-723AD9D02E07}"/>
              </a:ext>
            </a:extLst>
          </p:cNvPr>
          <p:cNvSpPr/>
          <p:nvPr/>
        </p:nvSpPr>
        <p:spPr bwMode="auto">
          <a:xfrm>
            <a:off x="3983330" y="2222900"/>
            <a:ext cx="2030697" cy="383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IZ. </a:t>
            </a:r>
            <a:r>
              <a:rPr kumimoji="0" lang="en-US" sz="1200" b="1" u="none" strike="noStrike" kern="1200" cap="none" spc="0" normalizeH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LLIGENCE LAYER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19AFE39-5F4A-41BE-8107-52CD291EB204}"/>
              </a:ext>
            </a:extLst>
          </p:cNvPr>
          <p:cNvSpPr/>
          <p:nvPr/>
        </p:nvSpPr>
        <p:spPr bwMode="auto">
          <a:xfrm>
            <a:off x="3992838" y="1425614"/>
            <a:ext cx="2011680" cy="708878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87DAAC1-5D18-40B6-9F41-D118DEED8921}"/>
              </a:ext>
            </a:extLst>
          </p:cNvPr>
          <p:cNvSpPr txBox="1"/>
          <p:nvPr/>
        </p:nvSpPr>
        <p:spPr>
          <a:xfrm>
            <a:off x="3992838" y="1567687"/>
            <a:ext cx="201168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shboards Designing Milestones Status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72138732-0BE5-4F0D-A3D5-87156BF838EC}"/>
              </a:ext>
            </a:extLst>
          </p:cNvPr>
          <p:cNvSpPr/>
          <p:nvPr/>
        </p:nvSpPr>
        <p:spPr bwMode="auto">
          <a:xfrm>
            <a:off x="4584426" y="2680172"/>
            <a:ext cx="828504" cy="81660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25400" dist="889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9CF8F4D9-29AB-43B7-9A32-CB373B143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4249" y="2738385"/>
            <a:ext cx="688859" cy="700183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008BE3DF-77FD-4042-B29F-CEDA90518213}"/>
              </a:ext>
            </a:extLst>
          </p:cNvPr>
          <p:cNvSpPr/>
          <p:nvPr/>
        </p:nvSpPr>
        <p:spPr bwMode="auto">
          <a:xfrm>
            <a:off x="3919410" y="3725890"/>
            <a:ext cx="219456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Market Databas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CBA1D39-8422-4A7A-93A8-91726B3E3023}"/>
              </a:ext>
            </a:extLst>
          </p:cNvPr>
          <p:cNvSpPr/>
          <p:nvPr/>
        </p:nvSpPr>
        <p:spPr bwMode="auto">
          <a:xfrm>
            <a:off x="826631" y="5181701"/>
            <a:ext cx="219456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Review/Validation of Fact Table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47A01EE-AFC1-4106-9D03-33BC8513FE22}"/>
              </a:ext>
            </a:extLst>
          </p:cNvPr>
          <p:cNvSpPr/>
          <p:nvPr/>
        </p:nvSpPr>
        <p:spPr bwMode="auto">
          <a:xfrm>
            <a:off x="826631" y="5910518"/>
            <a:ext cx="219456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gesting Larger dataset into Table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3E0EB47-BB35-45C5-A463-25258F905CF0}"/>
              </a:ext>
            </a:extLst>
          </p:cNvPr>
          <p:cNvSpPr/>
          <p:nvPr/>
        </p:nvSpPr>
        <p:spPr bwMode="auto">
          <a:xfrm>
            <a:off x="826631" y="5546110"/>
            <a:ext cx="219456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ETL Pipelines for Fact Table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A43CF98-3B7B-4ACB-A109-0164B45F3BAF}"/>
              </a:ext>
            </a:extLst>
          </p:cNvPr>
          <p:cNvSpPr/>
          <p:nvPr/>
        </p:nvSpPr>
        <p:spPr bwMode="auto">
          <a:xfrm>
            <a:off x="3914220" y="5182162"/>
            <a:ext cx="219456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Validation of Data Metrics/Attribut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3914220" y="5910296"/>
            <a:ext cx="219456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ion with Larger Data ETL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3F35F14-8770-42DB-BFDF-061CC7B32C2C}"/>
              </a:ext>
            </a:extLst>
          </p:cNvPr>
          <p:cNvSpPr/>
          <p:nvPr/>
        </p:nvSpPr>
        <p:spPr bwMode="auto">
          <a:xfrm>
            <a:off x="3914220" y="5546230"/>
            <a:ext cx="219456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 with the ETL pipelin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7094251" y="4816269"/>
            <a:ext cx="219456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Tableau Connectivity to Sandbox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BA43CF98-3B7B-4ACB-A109-0164B45F3BAF}"/>
              </a:ext>
            </a:extLst>
          </p:cNvPr>
          <p:cNvSpPr/>
          <p:nvPr/>
        </p:nvSpPr>
        <p:spPr bwMode="auto">
          <a:xfrm>
            <a:off x="7094251" y="5180337"/>
            <a:ext cx="219456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ata Access &amp; Validation Completion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7120979" y="5568439"/>
            <a:ext cx="219456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Access to the Larger Data set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3F35F14-8770-42DB-BFDF-061CC7B32C2C}"/>
              </a:ext>
            </a:extLst>
          </p:cNvPr>
          <p:cNvSpPr/>
          <p:nvPr/>
        </p:nvSpPr>
        <p:spPr bwMode="auto">
          <a:xfrm>
            <a:off x="7113268" y="5971871"/>
            <a:ext cx="219456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ss to the AWS Glue ETL Service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4C95E6FF-53FF-4B16-BDF7-723AD9D02E07}"/>
              </a:ext>
            </a:extLst>
          </p:cNvPr>
          <p:cNvSpPr/>
          <p:nvPr/>
        </p:nvSpPr>
        <p:spPr bwMode="auto">
          <a:xfrm>
            <a:off x="9682595" y="4623992"/>
            <a:ext cx="1898583" cy="7109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iginal ETA – 04</a:t>
            </a:r>
            <a:r>
              <a:rPr lang="en-US" sz="1200" b="1" baseline="30000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200" b="1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’24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 defTabSz="914126">
              <a:defRPr/>
            </a:pP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ntative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A –</a:t>
            </a:r>
            <a:r>
              <a:rPr kumimoji="0" lang="en-US" sz="1200" b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en-US" sz="1200" b="1" u="none" strike="noStrike" kern="120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ec’24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C95E6FF-53FF-4B16-BDF7-723AD9D02E07}"/>
              </a:ext>
            </a:extLst>
          </p:cNvPr>
          <p:cNvSpPr/>
          <p:nvPr/>
        </p:nvSpPr>
        <p:spPr bwMode="auto">
          <a:xfrm>
            <a:off x="7094251" y="2222900"/>
            <a:ext cx="2030697" cy="383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X SUPPORT REQUIRED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419AFE39-5F4A-41BE-8107-52CD291EB204}"/>
              </a:ext>
            </a:extLst>
          </p:cNvPr>
          <p:cNvSpPr/>
          <p:nvPr/>
        </p:nvSpPr>
        <p:spPr bwMode="auto">
          <a:xfrm>
            <a:off x="7113268" y="1425614"/>
            <a:ext cx="2011680" cy="708878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87DAAC1-5D18-40B6-9F41-D118DEED8921}"/>
              </a:ext>
            </a:extLst>
          </p:cNvPr>
          <p:cNvSpPr txBox="1"/>
          <p:nvPr/>
        </p:nvSpPr>
        <p:spPr>
          <a:xfrm>
            <a:off x="7113268" y="1567687"/>
            <a:ext cx="201168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High Risk Challenges           and Constraints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1C0749-3099-91A0-0A81-DB9B0D5D6900}"/>
              </a:ext>
            </a:extLst>
          </p:cNvPr>
          <p:cNvSpPr txBox="1"/>
          <p:nvPr/>
        </p:nvSpPr>
        <p:spPr>
          <a:xfrm>
            <a:off x="9390569" y="1891049"/>
            <a:ext cx="237820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Tableau Access &amp; S3 connectivity – WIP ( Manual approach to connect S3 but session disconnect in 8 Hrs.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Excel operation limitation in Cox environment – Delay in data valid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EF92A3-7A56-6B9A-E8EE-1DAC0305E319}"/>
              </a:ext>
            </a:extLst>
          </p:cNvPr>
          <p:cNvSpPr/>
          <p:nvPr/>
        </p:nvSpPr>
        <p:spPr bwMode="auto">
          <a:xfrm>
            <a:off x="9687469" y="1649276"/>
            <a:ext cx="939144" cy="208543"/>
          </a:xfrm>
          <a:prstGeom prst="rect">
            <a:avLst/>
          </a:prstGeom>
          <a:solidFill>
            <a:srgbClr val="FFC000"/>
          </a:solidFill>
          <a:ln>
            <a:solidFill>
              <a:srgbClr val="0D4368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050" b="1" dirty="0">
              <a:solidFill>
                <a:srgbClr val="00B050"/>
              </a:solidFill>
              <a:highlight>
                <a:srgbClr val="FFE181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5E6B7-39EA-F122-1F4D-49892BCCBB54}"/>
              </a:ext>
            </a:extLst>
          </p:cNvPr>
          <p:cNvSpPr txBox="1"/>
          <p:nvPr/>
        </p:nvSpPr>
        <p:spPr>
          <a:xfrm>
            <a:off x="9390569" y="1375153"/>
            <a:ext cx="1583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verall 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7B9FBE-C925-9D4B-8F89-B42745540966}"/>
              </a:ext>
            </a:extLst>
          </p:cNvPr>
          <p:cNvSpPr/>
          <p:nvPr/>
        </p:nvSpPr>
        <p:spPr>
          <a:xfrm>
            <a:off x="9395067" y="1341632"/>
            <a:ext cx="2303157" cy="200784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18FE24-2496-85C7-0C08-83E0DF1C7FDB}"/>
              </a:ext>
            </a:extLst>
          </p:cNvPr>
          <p:cNvSpPr/>
          <p:nvPr/>
        </p:nvSpPr>
        <p:spPr bwMode="auto">
          <a:xfrm>
            <a:off x="9679816" y="3665511"/>
            <a:ext cx="1781536" cy="761905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2633CFA-85AC-A5D4-7EA3-7AB3FDB3F87A}"/>
              </a:ext>
            </a:extLst>
          </p:cNvPr>
          <p:cNvSpPr/>
          <p:nvPr/>
        </p:nvSpPr>
        <p:spPr bwMode="auto">
          <a:xfrm>
            <a:off x="10433460" y="3510264"/>
            <a:ext cx="274249" cy="274249"/>
          </a:xfrm>
          <a:prstGeom prst="ellipse">
            <a:avLst/>
          </a:prstGeom>
          <a:gradFill>
            <a:gsLst>
              <a:gs pos="27000">
                <a:srgbClr val="FC9926"/>
              </a:gs>
              <a:gs pos="99000">
                <a:srgbClr val="FCCE2E"/>
              </a:gs>
            </a:gsLst>
            <a:lin ang="16200000" scaled="0"/>
          </a:gradFill>
          <a:ln>
            <a:noFill/>
          </a:ln>
          <a:effectLst>
            <a:outerShdw blurRad="25400" dist="635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 pitchFamily="34" charset="0"/>
              </a:rPr>
              <a:t>3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206E78-C902-3B0E-F9EF-05ED3D181A0D}"/>
              </a:ext>
            </a:extLst>
          </p:cNvPr>
          <p:cNvSpPr txBox="1"/>
          <p:nvPr/>
        </p:nvSpPr>
        <p:spPr>
          <a:xfrm>
            <a:off x="9679816" y="3918915"/>
            <a:ext cx="2015629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lution Testing &amp;   Production Go Live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3A4AA0-FE84-812A-EB4F-04C79269CF27}"/>
              </a:ext>
            </a:extLst>
          </p:cNvPr>
          <p:cNvSpPr/>
          <p:nvPr/>
        </p:nvSpPr>
        <p:spPr bwMode="auto">
          <a:xfrm>
            <a:off x="9679816" y="4597787"/>
            <a:ext cx="2303157" cy="1036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iginal ETA – 04</a:t>
            </a:r>
            <a:r>
              <a:rPr lang="en-US" sz="1200" b="1" baseline="30000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200" b="1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’24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 defTabSz="914126">
              <a:defRPr/>
            </a:pP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ntative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A –</a:t>
            </a:r>
            <a:r>
              <a:rPr kumimoji="0" lang="en-US" sz="1200" b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en-US" sz="1200" b="1" u="none" strike="noStrike" kern="120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ec’24</a:t>
            </a:r>
          </a:p>
        </p:txBody>
      </p:sp>
    </p:spTree>
    <p:extLst>
      <p:ext uri="{BB962C8B-B14F-4D97-AF65-F5344CB8AC3E}">
        <p14:creationId xmlns:p14="http://schemas.microsoft.com/office/powerpoint/2010/main" val="300628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IAM – Profile Dashboard snapshot (WIP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B894CF68-0210-2AF7-35DD-B9BFE5253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78" y="656562"/>
            <a:ext cx="11046599" cy="5544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35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IAM – Activity Dashboard snapshot (WIP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B432B7-1A96-ABFB-B243-62FA76D6CD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5" r="1453" b="3169"/>
          <a:stretch/>
        </p:blipFill>
        <p:spPr bwMode="auto">
          <a:xfrm>
            <a:off x="233916" y="762043"/>
            <a:ext cx="11355572" cy="5617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848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Health Score Card – Dashboard snapsho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1">
            <a:extLst>
              <a:ext uri="{FF2B5EF4-FFF2-40B4-BE49-F238E27FC236}">
                <a16:creationId xmlns:a16="http://schemas.microsoft.com/office/drawing/2014/main" id="{1CAB3119-1030-FAF6-ECBB-7FA8AC16B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11" y="779118"/>
            <a:ext cx="11204448" cy="529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735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5254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/>
              <a:t>Summary of the CIAM Data Model for BI Report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62" y="981902"/>
            <a:ext cx="1187767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22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/>
              <a:t>Project Status &amp; Milestones – Data Engineering Trac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6" name="Table 4">
            <a:extLst>
              <a:ext uri="{FF2B5EF4-FFF2-40B4-BE49-F238E27FC236}">
                <a16:creationId xmlns:a16="http://schemas.microsoft.com/office/drawing/2014/main" id="{53EA420E-C862-42CC-AD0A-0CD5E908B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885315"/>
              </p:ext>
            </p:extLst>
          </p:nvPr>
        </p:nvGraphicFramePr>
        <p:xfrm>
          <a:off x="746988" y="886693"/>
          <a:ext cx="10951236" cy="5250057"/>
        </p:xfrm>
        <a:graphic>
          <a:graphicData uri="http://schemas.openxmlformats.org/drawingml/2006/table">
            <a:tbl>
              <a:tblPr firstRow="1" bandRow="1"/>
              <a:tblGrid>
                <a:gridCol w="330653">
                  <a:extLst>
                    <a:ext uri="{9D8B030D-6E8A-4147-A177-3AD203B41FA5}">
                      <a16:colId xmlns:a16="http://schemas.microsoft.com/office/drawing/2014/main" val="591996495"/>
                    </a:ext>
                  </a:extLst>
                </a:gridCol>
                <a:gridCol w="4353341">
                  <a:extLst>
                    <a:ext uri="{9D8B030D-6E8A-4147-A177-3AD203B41FA5}">
                      <a16:colId xmlns:a16="http://schemas.microsoft.com/office/drawing/2014/main" val="1871347559"/>
                    </a:ext>
                  </a:extLst>
                </a:gridCol>
                <a:gridCol w="1274618">
                  <a:extLst>
                    <a:ext uri="{9D8B030D-6E8A-4147-A177-3AD203B41FA5}">
                      <a16:colId xmlns:a16="http://schemas.microsoft.com/office/drawing/2014/main" val="1440275523"/>
                    </a:ext>
                  </a:extLst>
                </a:gridCol>
                <a:gridCol w="1265382">
                  <a:extLst>
                    <a:ext uri="{9D8B030D-6E8A-4147-A177-3AD203B41FA5}">
                      <a16:colId xmlns:a16="http://schemas.microsoft.com/office/drawing/2014/main" val="643326090"/>
                    </a:ext>
                  </a:extLst>
                </a:gridCol>
                <a:gridCol w="1394691">
                  <a:extLst>
                    <a:ext uri="{9D8B030D-6E8A-4147-A177-3AD203B41FA5}">
                      <a16:colId xmlns:a16="http://schemas.microsoft.com/office/drawing/2014/main" val="927228342"/>
                    </a:ext>
                  </a:extLst>
                </a:gridCol>
                <a:gridCol w="2332551">
                  <a:extLst>
                    <a:ext uri="{9D8B030D-6E8A-4147-A177-3AD203B41FA5}">
                      <a16:colId xmlns:a16="http://schemas.microsoft.com/office/drawing/2014/main" val="4023779838"/>
                    </a:ext>
                  </a:extLst>
                </a:gridCol>
              </a:tblGrid>
              <a:tr h="403124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Engineering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gres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isk</a:t>
                      </a:r>
                      <a:r>
                        <a:rPr lang="en-US" sz="1400" b="1" kern="1200" baseline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Level</a:t>
                      </a:r>
                      <a:endParaRPr lang="en-US" sz="1400" b="1" kern="120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plete</a:t>
                      </a:r>
                      <a:r>
                        <a:rPr lang="en-US" sz="1400" b="1" kern="1200" baseline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Week</a:t>
                      </a:r>
                      <a:endParaRPr lang="en-US" sz="1400" b="1" kern="120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ies &amp; Challenge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4875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1 – Create Fact Tables in Athena [Test/Sample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noProof="1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2670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Account Fact Table &amp; Profile Fact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9th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 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Correct Filtering of Data &amp; </a:t>
                      </a:r>
                    </a:p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Field Level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Data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Valid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6401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ransaction Fact Octa Table &amp; Transaction Fact Adobe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6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082998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2 – </a:t>
                      </a: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Upload Fact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Tables</a:t>
                      </a: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in S3 - CIAM_DATAMODEL [Test files]</a:t>
                      </a:r>
                      <a:endParaRPr lang="da-DK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48502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Upload Fact Tables to S3 Bucket Storag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WE 23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Data Transformation &amp; Validation using AWS Quicksigh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436198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Validation and Transformation of Activity Fact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Ongoing</a:t>
                      </a:r>
                      <a:endParaRPr lang="en-US" sz="1200" baseline="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189" rtl="0" eaLnBrk="1" latinLnBrk="0" hangingPunct="1"/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37463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Create Partition &amp; Load - External Table in AWS</a:t>
                      </a:r>
                      <a:r>
                        <a:rPr lang="en-US" sz="1200" b="1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the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03034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Loading Incremental Data into the External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 25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Octo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ccess may take upto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2-3 weeks may delay these activit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33924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Complete data update in all Fact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25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cto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96125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reate Data ETL Pipeline in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AWS Glue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75882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e IAM Role for AWS Glue</a:t>
                      </a:r>
                      <a:endParaRPr kumimoji="0" lang="da-DK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 29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Nov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y on Previous Tasks,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WS Glue Access may delay the Timeli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52140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WS Glue Crawler for Data Schema &amp; Metadata Tabl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29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November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9753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&amp;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Pipeline Testing &amp; Production Deployment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6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c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02842"/>
                  </a:ext>
                </a:extLst>
              </a:tr>
            </a:tbl>
          </a:graphicData>
        </a:graphic>
      </p:graphicFrame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172458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2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172458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54" name="Rectangle: Rounded Corners 16">
            <a:extLst>
              <a:ext uri="{FF2B5EF4-FFF2-40B4-BE49-F238E27FC236}">
                <a16:creationId xmlns:a16="http://schemas.microsoft.com/office/drawing/2014/main" id="{12E7BE95-014E-4823-A0B4-D90A77AC48FF}"/>
              </a:ext>
            </a:extLst>
          </p:cNvPr>
          <p:cNvSpPr/>
          <p:nvPr/>
        </p:nvSpPr>
        <p:spPr>
          <a:xfrm>
            <a:off x="5461131" y="21036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5" name="Rectangle: Rounded Corners 17">
            <a:extLst>
              <a:ext uri="{FF2B5EF4-FFF2-40B4-BE49-F238E27FC236}">
                <a16:creationId xmlns:a16="http://schemas.microsoft.com/office/drawing/2014/main" id="{608725C6-779D-4773-9EF4-9F76B0CD497E}"/>
              </a:ext>
            </a:extLst>
          </p:cNvPr>
          <p:cNvSpPr/>
          <p:nvPr/>
        </p:nvSpPr>
        <p:spPr>
          <a:xfrm>
            <a:off x="6729192" y="21036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60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28432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28432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63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321303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</a:p>
        </p:txBody>
      </p:sp>
      <p:sp>
        <p:nvSpPr>
          <p:cNvPr id="64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321303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75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1744790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2112967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Graphic 5" descr="Checkmark">
            <a:extLst>
              <a:ext uri="{FF2B5EF4-FFF2-40B4-BE49-F238E27FC236}">
                <a16:creationId xmlns:a16="http://schemas.microsoft.com/office/drawing/2014/main" id="{74CEBFA9-E10A-4A01-BC2D-62A7E277129D}"/>
              </a:ext>
            </a:extLst>
          </p:cNvPr>
          <p:cNvSpPr/>
          <p:nvPr/>
        </p:nvSpPr>
        <p:spPr>
          <a:xfrm>
            <a:off x="425583" y="2896776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326495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Rectangle: Rounded Corners 10">
            <a:extLst>
              <a:ext uri="{FF2B5EF4-FFF2-40B4-BE49-F238E27FC236}">
                <a16:creationId xmlns:a16="http://schemas.microsoft.com/office/drawing/2014/main" id="{D764091E-C2D2-468A-A73B-DB60B887EA62}"/>
              </a:ext>
            </a:extLst>
          </p:cNvPr>
          <p:cNvSpPr/>
          <p:nvPr/>
        </p:nvSpPr>
        <p:spPr>
          <a:xfrm>
            <a:off x="5461131" y="395228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6" name="Rectangle: Rounded Corners 11">
            <a:extLst>
              <a:ext uri="{FF2B5EF4-FFF2-40B4-BE49-F238E27FC236}">
                <a16:creationId xmlns:a16="http://schemas.microsoft.com/office/drawing/2014/main" id="{DBDAD6C8-EA4D-41DE-809E-7E5698F64AB8}"/>
              </a:ext>
            </a:extLst>
          </p:cNvPr>
          <p:cNvSpPr/>
          <p:nvPr/>
        </p:nvSpPr>
        <p:spPr>
          <a:xfrm>
            <a:off x="6729192" y="395228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88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433132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9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433132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94" name="Rectangle: Rounded Corners 19">
            <a:extLst>
              <a:ext uri="{FF2B5EF4-FFF2-40B4-BE49-F238E27FC236}">
                <a16:creationId xmlns:a16="http://schemas.microsoft.com/office/drawing/2014/main" id="{C2430B2B-A561-4A66-9DAD-308D29EB770F}"/>
              </a:ext>
            </a:extLst>
          </p:cNvPr>
          <p:cNvSpPr/>
          <p:nvPr/>
        </p:nvSpPr>
        <p:spPr>
          <a:xfrm>
            <a:off x="5461131" y="5070931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5" name="Rectangle: Rounded Corners 20">
            <a:extLst>
              <a:ext uri="{FF2B5EF4-FFF2-40B4-BE49-F238E27FC236}">
                <a16:creationId xmlns:a16="http://schemas.microsoft.com/office/drawing/2014/main" id="{69B9705E-76FE-48B8-AE75-BC63F5A0D96A}"/>
              </a:ext>
            </a:extLst>
          </p:cNvPr>
          <p:cNvSpPr/>
          <p:nvPr/>
        </p:nvSpPr>
        <p:spPr>
          <a:xfrm>
            <a:off x="6729192" y="5070931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97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544997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8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544997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100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582901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101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582901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Medium</a:t>
            </a:r>
          </a:p>
        </p:txBody>
      </p:sp>
      <p:sp>
        <p:nvSpPr>
          <p:cNvPr id="102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3949415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4317592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5137071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Graphic 7" descr="Checkmark">
            <a:extLst>
              <a:ext uri="{FF2B5EF4-FFF2-40B4-BE49-F238E27FC236}">
                <a16:creationId xmlns:a16="http://schemas.microsoft.com/office/drawing/2014/main" id="{D0FB9DBC-BC27-4AB4-8F85-F92EF099072D}"/>
              </a:ext>
            </a:extLst>
          </p:cNvPr>
          <p:cNvSpPr/>
          <p:nvPr/>
        </p:nvSpPr>
        <p:spPr>
          <a:xfrm>
            <a:off x="425583" y="5505248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Graphic 8" descr="Checkmark">
            <a:extLst>
              <a:ext uri="{FF2B5EF4-FFF2-40B4-BE49-F238E27FC236}">
                <a16:creationId xmlns:a16="http://schemas.microsoft.com/office/drawing/2014/main" id="{9441916A-F2E6-4E26-9340-83E49F1C76FD}"/>
              </a:ext>
            </a:extLst>
          </p:cNvPr>
          <p:cNvSpPr/>
          <p:nvPr/>
        </p:nvSpPr>
        <p:spPr>
          <a:xfrm>
            <a:off x="425583" y="587342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7166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4" ma:contentTypeDescription="Create a new document." ma:contentTypeScope="" ma:versionID="9cfdc94af1956de2f6875649e5cc6aff">
  <xsd:schema xmlns:xsd="http://www.w3.org/2001/XMLSchema" xmlns:xs="http://www.w3.org/2001/XMLSchema" xmlns:p="http://schemas.microsoft.com/office/2006/metadata/properties" xmlns:ns2="80b69f1d-ead9-4f3d-aa02-a5292de2edf1" targetNamespace="http://schemas.microsoft.com/office/2006/metadata/properties" ma:root="true" ma:fieldsID="028f7d4cddf4fba99f194a4e642f5fa6" ns2:_="">
    <xsd:import namespace="80b69f1d-ead9-4f3d-aa02-a5292de2ed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7B93A5-87F7-4E2E-A4AB-6C75B982D9F4}">
  <ds:schemaRefs>
    <ds:schemaRef ds:uri="80b69f1d-ead9-4f3d-aa02-a5292de2ed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BC13AF2-E39A-4FD2-B967-9FAE27A81BE6}">
  <ds:schemaRefs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80b69f1d-ead9-4f3d-aa02-a5292de2edf1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3</TotalTime>
  <Words>1757</Words>
  <Application>Microsoft Office PowerPoint</Application>
  <PresentationFormat>Widescreen</PresentationFormat>
  <Paragraphs>505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ptos Narrow</vt:lpstr>
      <vt:lpstr>Arial</vt:lpstr>
      <vt:lpstr>Calibri</vt:lpstr>
      <vt:lpstr>Calibri Light</vt:lpstr>
      <vt:lpstr>Proxima Nova Black</vt:lpstr>
      <vt:lpstr>Proxima Nova Light</vt:lpstr>
      <vt:lpstr>Segoe UI</vt:lpstr>
      <vt:lpstr>Wingdings</vt:lpstr>
      <vt:lpstr>Cox Communications 2019 Template (16x9)</vt:lpstr>
      <vt:lpstr>2_Cox Communications 2019 Template (16x9)</vt:lpstr>
      <vt:lpstr>think-cell Slide</vt:lpstr>
      <vt:lpstr>CIAM Project Updates</vt:lpstr>
      <vt:lpstr>CIAM PROJECT STATUS WE OCTOBER 25TH, 2024 </vt:lpstr>
      <vt:lpstr>COX - CIAM Project Status </vt:lpstr>
      <vt:lpstr>CIAM – Profile Dashboard snapshot (WIP)</vt:lpstr>
      <vt:lpstr>CIAM – Activity Dashboard snapshot (WIP)</vt:lpstr>
      <vt:lpstr>Health Score Card – Dashboard snapshot</vt:lpstr>
      <vt:lpstr>Thank You</vt:lpstr>
      <vt:lpstr>Summary of the CIAM Data Model for BI Reporting</vt:lpstr>
      <vt:lpstr>Project Status &amp; Milestones – Data Engineering Track</vt:lpstr>
      <vt:lpstr>Project Status &amp; Milestones – BI &amp; Reporting Track</vt:lpstr>
      <vt:lpstr>COX - CIAM Data Engg and BI Reporting  - Overview</vt:lpstr>
      <vt:lpstr>Original Project Plan</vt:lpstr>
      <vt:lpstr>CIAM - Functions, Initiatives and Metrics Mapping (Original)</vt:lpstr>
      <vt:lpstr>Summary of the CIAM BI Reporting  Metri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Vikas Tiwari03</cp:lastModifiedBy>
  <cp:revision>76</cp:revision>
  <cp:lastPrinted>2023-03-15T15:20:58Z</cp:lastPrinted>
  <dcterms:created xsi:type="dcterms:W3CDTF">2016-12-14T14:35:04Z</dcterms:created>
  <dcterms:modified xsi:type="dcterms:W3CDTF">2024-10-25T15:2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